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793" r:id="rId1"/>
  </p:sldMasterIdLst>
  <p:notesMasterIdLst>
    <p:notesMasterId r:id="rId3"/>
  </p:notesMasterIdLst>
  <p:handoutMasterIdLst>
    <p:handoutMasterId r:id="rId4"/>
  </p:handoutMasterIdLst>
  <p:sldIdLst>
    <p:sldId id="645" r:id="rId2"/>
  </p:sldIdLst>
  <p:sldSz cx="9144000" cy="6858000" type="screen4x3"/>
  <p:notesSz cx="6805613" cy="9939338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003382"/>
    <a:srgbClr val="7F7F7F"/>
    <a:srgbClr val="EDEDED"/>
    <a:srgbClr val="00B0F0"/>
    <a:srgbClr val="89A54E"/>
    <a:srgbClr val="AA4643"/>
    <a:srgbClr val="7158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39" autoAdjust="0"/>
    <p:restoredTop sz="96977" autoAdjust="0"/>
  </p:normalViewPr>
  <p:slideViewPr>
    <p:cSldViewPr snapToGrid="0" snapToObjects="1">
      <p:cViewPr varScale="1">
        <p:scale>
          <a:sx n="110" d="100"/>
          <a:sy n="110" d="100"/>
        </p:scale>
        <p:origin x="1572" y="114"/>
      </p:cViewPr>
      <p:guideLst>
        <p:guide orient="horz" pos="4319"/>
        <p:guide pos="57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0" d="100"/>
        <a:sy n="130" d="100"/>
      </p:scale>
      <p:origin x="0" y="3210"/>
    </p:cViewPr>
  </p:sorterViewPr>
  <p:notesViewPr>
    <p:cSldViewPr snapToGrid="0" snapToObjects="1">
      <p:cViewPr varScale="1">
        <p:scale>
          <a:sx n="77" d="100"/>
          <a:sy n="77" d="100"/>
        </p:scale>
        <p:origin x="4080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00F5DFE4-1D93-4C8D-9854-8C2B4E655D4E}" type="datetimeFigureOut">
              <a:rPr lang="en-US" altLang="fr-FR"/>
              <a:pPr/>
              <a:t>7/27/2020</a:t>
            </a:fld>
            <a:endParaRPr lang="en-US" altLang="fr-FR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78EA0010-D03E-4004-814A-C75022B7ADF1}" type="slidenum">
              <a:rPr lang="en-US" altLang="fr-FR"/>
              <a:pPr/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9337103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GB" altLang="fr-FR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6CBEF2F6-A6C8-4443-AA44-E7734C907C30}" type="datetimeFigureOut">
              <a:rPr lang="en-GB" altLang="fr-FR"/>
              <a:pPr/>
              <a:t>27/07/2020</a:t>
            </a:fld>
            <a:endParaRPr lang="en-GB" altLang="fr-FR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pPr lvl="0"/>
            <a:endParaRPr lang="en-US" noProof="0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1038" y="4721225"/>
            <a:ext cx="5443537" cy="4471988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anose="020F0502020204030204" pitchFamily="34" charset="0"/>
              </a:defRPr>
            </a:lvl1pPr>
          </a:lstStyle>
          <a:p>
            <a:endParaRPr lang="en-GB" altLang="fr-FR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B2445532-1AB4-4AF3-905B-258E93BE6EE2}" type="slidenum">
              <a:rPr lang="en-GB" altLang="fr-FR"/>
              <a:pPr/>
              <a:t>‹#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35251556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066407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90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1"/>
            <a:ext cx="7994650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2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87093"/>
            <a:ext cx="838371" cy="12311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80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30 July 2020</a:t>
            </a:fld>
            <a:endParaRPr lang="en-GB" sz="800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87093"/>
            <a:ext cx="395942" cy="12311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800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80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800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6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889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889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889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2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34671BFF-687E-4271-8442-37DEFF4972A6}"/>
              </a:ext>
            </a:extLst>
          </p:cNvPr>
          <p:cNvSpPr txBox="1"/>
          <p:nvPr userDrawn="1"/>
        </p:nvSpPr>
        <p:spPr>
          <a:xfrm>
            <a:off x="4288685" y="6692897"/>
            <a:ext cx="566630" cy="11849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77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77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1570005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814" r:id="rId1"/>
  </p:sldLayoutIdLst>
  <p:hf sldNum="0" hdr="0" dt="0"/>
  <p:txStyles>
    <p:titleStyle>
      <a:lvl1pPr algn="l" defTabSz="812695" rtl="0" eaLnBrk="1" latinLnBrk="0" hangingPunct="1">
        <a:spcBef>
          <a:spcPct val="0"/>
        </a:spcBef>
        <a:buNone/>
        <a:defRPr sz="2667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812695" rtl="0" eaLnBrk="1" latinLnBrk="0" hangingPunct="1">
        <a:spcBef>
          <a:spcPts val="356"/>
        </a:spcBef>
        <a:buClr>
          <a:schemeClr val="accent4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58024" indent="-158024" algn="l" defTabSz="812695" rtl="0" eaLnBrk="1" latinLnBrk="0" hangingPunct="1">
        <a:spcBef>
          <a:spcPts val="356"/>
        </a:spcBef>
        <a:buClr>
          <a:schemeClr val="accent4"/>
        </a:buClr>
        <a:buFont typeface="Wingdings" panose="05000000000000000000" pitchFamily="2" charset="2"/>
        <a:buChar char="§"/>
        <a:defRPr sz="1422" kern="1200">
          <a:solidFill>
            <a:schemeClr val="tx1"/>
          </a:solidFill>
          <a:latin typeface="+mn-lt"/>
          <a:ea typeface="+mn-ea"/>
          <a:cs typeface="+mn-cs"/>
        </a:defRPr>
      </a:lvl2pPr>
      <a:lvl3pPr marL="317459" indent="-159434" algn="l" defTabSz="812695" rtl="0" eaLnBrk="1" latinLnBrk="0" hangingPunct="1">
        <a:spcBef>
          <a:spcPts val="356"/>
        </a:spcBef>
        <a:buClr>
          <a:schemeClr val="accent4"/>
        </a:buClr>
        <a:buFont typeface="Wingdings" panose="05000000000000000000" pitchFamily="2" charset="2"/>
        <a:buChar char="§"/>
        <a:defRPr sz="1244" kern="1200">
          <a:solidFill>
            <a:schemeClr val="tx1"/>
          </a:solidFill>
          <a:latin typeface="+mn-lt"/>
          <a:ea typeface="+mn-ea"/>
          <a:cs typeface="+mn-cs"/>
        </a:defRPr>
      </a:lvl3pPr>
      <a:lvl4pPr marL="475483" indent="-158024" algn="l" defTabSz="812695" rtl="0" eaLnBrk="1" latinLnBrk="0" hangingPunct="1">
        <a:spcBef>
          <a:spcPts val="356"/>
        </a:spcBef>
        <a:buClr>
          <a:schemeClr val="accent4"/>
        </a:buClr>
        <a:buFont typeface="Wingdings" panose="05000000000000000000" pitchFamily="2" charset="2"/>
        <a:buChar char="§"/>
        <a:defRPr sz="1244" kern="1200">
          <a:solidFill>
            <a:schemeClr val="tx1"/>
          </a:solidFill>
          <a:latin typeface="+mn-lt"/>
          <a:ea typeface="+mn-ea"/>
          <a:cs typeface="+mn-cs"/>
        </a:defRPr>
      </a:lvl4pPr>
      <a:lvl5pPr marL="634917" indent="-159434" algn="l" defTabSz="812695" rtl="0" eaLnBrk="1" latinLnBrk="0" hangingPunct="1">
        <a:spcBef>
          <a:spcPts val="356"/>
        </a:spcBef>
        <a:buClr>
          <a:schemeClr val="accent4"/>
        </a:buClr>
        <a:buFont typeface="Wingdings" panose="05000000000000000000" pitchFamily="2" charset="2"/>
        <a:buChar char="§"/>
        <a:defRPr sz="1244" kern="1200">
          <a:solidFill>
            <a:schemeClr val="tx1"/>
          </a:solidFill>
          <a:latin typeface="+mn-lt"/>
          <a:ea typeface="+mn-ea"/>
          <a:cs typeface="+mn-cs"/>
        </a:defRPr>
      </a:lvl5pPr>
      <a:lvl6pPr marL="2234910" indent="-203174" algn="l" defTabSz="81269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641257" indent="-203174" algn="l" defTabSz="81269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047604" indent="-203174" algn="l" defTabSz="81269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453952" indent="-203174" algn="l" defTabSz="812695" rtl="0" eaLnBrk="1" latinLnBrk="0" hangingPunct="1">
        <a:spcBef>
          <a:spcPct val="20000"/>
        </a:spcBef>
        <a:buFont typeface="Arial" panose="020B0604020202020204" pitchFamily="34" charset="0"/>
        <a:buChar char="•"/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26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6347" algn="l" defTabSz="8126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2695" algn="l" defTabSz="8126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042" algn="l" defTabSz="8126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5389" algn="l" defTabSz="8126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31736" algn="l" defTabSz="8126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8083" algn="l" defTabSz="8126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44430" algn="l" defTabSz="8126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50777" algn="l" defTabSz="81269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3019" y="623452"/>
            <a:ext cx="7258642" cy="435376"/>
          </a:xfrm>
        </p:spPr>
        <p:txBody>
          <a:bodyPr/>
          <a:lstStyle/>
          <a:p>
            <a:r>
              <a:rPr lang="en-US" altLang="fr-FR" sz="2829" dirty="0">
                <a:solidFill>
                  <a:srgbClr val="E64B00"/>
                </a:solidFill>
              </a:rPr>
              <a:t>Secure preform and final product hygiene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197241" y="1646969"/>
            <a:ext cx="6698305" cy="352543"/>
          </a:xfrm>
        </p:spPr>
        <p:txBody>
          <a:bodyPr/>
          <a:lstStyle/>
          <a:p>
            <a:r>
              <a:rPr lang="fr-FR" altLang="fr-FR" sz="1697" dirty="0" err="1"/>
              <a:t>Preform</a:t>
            </a:r>
            <a:r>
              <a:rPr lang="fr-FR" altLang="fr-FR" sz="1697" dirty="0"/>
              <a:t> de-</a:t>
            </a:r>
            <a:r>
              <a:rPr lang="fr-FR" altLang="fr-FR" sz="1697" dirty="0" err="1"/>
              <a:t>dusting</a:t>
            </a:r>
            <a:r>
              <a:rPr lang="fr-FR" altLang="fr-FR" sz="1697" dirty="0"/>
              <a:t> module</a:t>
            </a:r>
            <a:endParaRPr lang="fr-FR" altLang="zh-CN" sz="1697" dirty="0">
              <a:solidFill>
                <a:srgbClr val="E64B00"/>
              </a:solidFill>
              <a:ea typeface="宋体" panose="02010600030101010101" pitchFamily="2" charset="-122"/>
            </a:endParaRPr>
          </a:p>
          <a:p>
            <a:endParaRPr lang="fr-FR" altLang="zh-CN" dirty="0"/>
          </a:p>
          <a:p>
            <a:endParaRPr lang="en-US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183018" y="2369364"/>
            <a:ext cx="3359715" cy="308575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05" tIns="60337" rIns="90505" bIns="60337"/>
          <a:lstStyle/>
          <a:p>
            <a:pPr marL="171450" indent="-171450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n-US" sz="1131" kern="0" dirty="0">
                <a:solidFill>
                  <a:srgbClr val="000000"/>
                </a:solidFill>
                <a:latin typeface="Arial"/>
              </a:rPr>
              <a:t>The system is eliminating any residual particles from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preforms</a:t>
            </a:r>
            <a:r>
              <a:rPr lang="fr-FR" sz="1131" kern="0" dirty="0">
                <a:solidFill>
                  <a:srgbClr val="000000"/>
                </a:solidFill>
                <a:latin typeface="Arial"/>
              </a:rPr>
              <a:t> (</a:t>
            </a:r>
            <a:r>
              <a:rPr lang="fr-FR" sz="1131" b="1" kern="0" dirty="0">
                <a:solidFill>
                  <a:srgbClr val="000000"/>
                </a:solidFill>
                <a:latin typeface="Arial"/>
              </a:rPr>
              <a:t>more </a:t>
            </a:r>
            <a:r>
              <a:rPr lang="fr-FR" sz="1131" b="1" kern="0" dirty="0" err="1">
                <a:solidFill>
                  <a:srgbClr val="000000"/>
                </a:solidFill>
                <a:latin typeface="Arial"/>
              </a:rPr>
              <a:t>than</a:t>
            </a:r>
            <a:r>
              <a:rPr lang="fr-FR" sz="1131" b="1" kern="0" dirty="0">
                <a:solidFill>
                  <a:srgbClr val="000000"/>
                </a:solidFill>
                <a:latin typeface="Arial"/>
              </a:rPr>
              <a:t> 97% for PET </a:t>
            </a:r>
            <a:r>
              <a:rPr lang="fr-FR" sz="1131" b="1" kern="0" dirty="0" err="1">
                <a:solidFill>
                  <a:srgbClr val="000000"/>
                </a:solidFill>
                <a:latin typeface="Arial"/>
              </a:rPr>
              <a:t>dust</a:t>
            </a:r>
            <a:r>
              <a:rPr lang="fr-FR" sz="1131" b="1" kern="0" dirty="0">
                <a:solidFill>
                  <a:srgbClr val="000000"/>
                </a:solidFill>
                <a:latin typeface="Arial"/>
              </a:rPr>
              <a:t>)</a:t>
            </a:r>
          </a:p>
          <a:p>
            <a:pPr marL="171450" indent="-171450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n-US" sz="1131" kern="0" dirty="0">
                <a:solidFill>
                  <a:srgbClr val="000000"/>
                </a:solidFill>
                <a:latin typeface="Arial"/>
              </a:rPr>
              <a:t>Enables preforms to be cleaned internally before </a:t>
            </a:r>
            <a:r>
              <a:rPr lang="fr-FR" sz="1131" kern="0" dirty="0" err="1">
                <a:solidFill>
                  <a:srgbClr val="000000"/>
                </a:solidFill>
                <a:latin typeface="Arial"/>
              </a:rPr>
              <a:t>blowing</a:t>
            </a:r>
            <a:endParaRPr lang="en-GB" altLang="zh-CN" sz="113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4720999" y="2366703"/>
            <a:ext cx="3438617" cy="308841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05" tIns="60337" rIns="90505" bIns="60337"/>
          <a:lstStyle/>
          <a:p>
            <a:pPr marL="152967" lvl="1" indent="-152967" defTabSz="76616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492699" algn="l"/>
                <a:tab pos="2640347" algn="l"/>
              </a:tabLst>
              <a:defRPr/>
            </a:pPr>
            <a:r>
              <a:rPr lang="en-US" altLang="zh-CN" sz="1131" kern="0" dirty="0">
                <a:solidFill>
                  <a:srgbClr val="000000"/>
                </a:solidFill>
              </a:rPr>
              <a:t>The module eliminates by filtered air flow the solid particles which may accumulate inside the preforms</a:t>
            </a:r>
          </a:p>
          <a:p>
            <a:pPr marL="171450" indent="-171450">
              <a:buClr>
                <a:srgbClr val="E64B00"/>
              </a:buClr>
              <a:buFont typeface="Wingdings" panose="05000000000000000000" pitchFamily="2" charset="2"/>
              <a:buChar char="§"/>
            </a:pPr>
            <a:r>
              <a:rPr lang="en-US" sz="1131" kern="0" dirty="0">
                <a:solidFill>
                  <a:srgbClr val="000000"/>
                </a:solidFill>
                <a:latin typeface="Arial"/>
              </a:rPr>
              <a:t>The air suction hood comprises a turbine fan in a sealed housing, a particle filter and two baffles to channel air suction flow</a:t>
            </a:r>
          </a:p>
          <a:p>
            <a:r>
              <a:rPr lang="en-US" sz="1131" kern="0" dirty="0">
                <a:solidFill>
                  <a:srgbClr val="000000"/>
                </a:solidFill>
                <a:latin typeface="Arial"/>
              </a:rPr>
              <a:t> </a:t>
            </a:r>
            <a:endParaRPr lang="en-US" altLang="zh-CN" sz="113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183018" y="5493210"/>
            <a:ext cx="6686332" cy="394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66166">
              <a:spcBef>
                <a:spcPct val="20000"/>
              </a:spcBef>
              <a:buClrTx/>
              <a:defRPr/>
            </a:pPr>
            <a:r>
              <a:rPr lang="en-GB" altLang="fr-FR" sz="754" dirty="0">
                <a:solidFill>
                  <a:srgbClr val="000000"/>
                </a:solidFill>
              </a:rPr>
              <a:t>Value: Product quality</a:t>
            </a:r>
          </a:p>
          <a:p>
            <a:pPr defTabSz="766166">
              <a:spcBef>
                <a:spcPct val="20000"/>
              </a:spcBef>
              <a:buClrTx/>
              <a:defRPr/>
            </a:pPr>
            <a:r>
              <a:rPr lang="en-GB" altLang="fr-FR" sz="754" dirty="0">
                <a:solidFill>
                  <a:srgbClr val="000000"/>
                </a:solidFill>
              </a:rPr>
              <a:t>Equipment: blowers Series 2</a:t>
            </a:r>
          </a:p>
          <a:p>
            <a:pPr defTabSz="766166">
              <a:spcBef>
                <a:spcPct val="20000"/>
              </a:spcBef>
              <a:buClrTx/>
              <a:defRPr/>
            </a:pPr>
            <a:r>
              <a:rPr lang="en-GB" altLang="fr-FR" sz="754" dirty="0">
                <a:solidFill>
                  <a:srgbClr val="000000"/>
                </a:solidFill>
              </a:rPr>
              <a:t>Catalogue code: 506</a:t>
            </a:r>
          </a:p>
        </p:txBody>
      </p:sp>
      <p:pic>
        <p:nvPicPr>
          <p:cNvPr id="17" name="Image 1">
            <a:extLst>
              <a:ext uri="{FF2B5EF4-FFF2-40B4-BE49-F238E27FC236}">
                <a16:creationId xmlns:a16="http://schemas.microsoft.com/office/drawing/2014/main" id="{17E8F4B2-5271-49FA-8629-9EC0A4C3DD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9719" y="3652568"/>
            <a:ext cx="1545621" cy="1558464"/>
          </a:xfrm>
          <a:prstGeom prst="rect">
            <a:avLst/>
          </a:prstGeom>
        </p:spPr>
      </p:pic>
      <p:pic>
        <p:nvPicPr>
          <p:cNvPr id="18" name="Image 2">
            <a:extLst>
              <a:ext uri="{FF2B5EF4-FFF2-40B4-BE49-F238E27FC236}">
                <a16:creationId xmlns:a16="http://schemas.microsoft.com/office/drawing/2014/main" id="{112BBDEC-162D-4EB8-92B9-D5DD3ACBB0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9197" y="3716332"/>
            <a:ext cx="1884761" cy="1544612"/>
          </a:xfrm>
          <a:prstGeom prst="rect">
            <a:avLst/>
          </a:prstGeom>
        </p:spPr>
      </p:pic>
      <p:sp>
        <p:nvSpPr>
          <p:cNvPr id="11" name="Rechteck 3">
            <a:extLst>
              <a:ext uri="{FF2B5EF4-FFF2-40B4-BE49-F238E27FC236}">
                <a16:creationId xmlns:a16="http://schemas.microsoft.com/office/drawing/2014/main" id="{43608C1E-DBC8-4778-935D-E9FE6E00D709}"/>
              </a:ext>
            </a:extLst>
          </p:cNvPr>
          <p:cNvSpPr/>
          <p:nvPr/>
        </p:nvSpPr>
        <p:spPr>
          <a:xfrm>
            <a:off x="1183018" y="1946312"/>
            <a:ext cx="3363376" cy="42039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05" tIns="60337" rIns="90505" bIns="60337" anchor="ctr"/>
          <a:lstStyle/>
          <a:p>
            <a:pPr defTabSz="862049" fontAlgn="auto">
              <a:spcBef>
                <a:spcPts val="283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320" b="1" dirty="0">
                <a:solidFill>
                  <a:srgbClr val="FFFFFF"/>
                </a:solidFill>
                <a:latin typeface="Arial" charset="0"/>
                <a:ea typeface="MS PGothic" pitchFamily="34" charset="-128"/>
              </a:rPr>
              <a:t>VALUE AND BENEFITS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9330540-3C35-4FAC-B601-169A632046D5}"/>
              </a:ext>
            </a:extLst>
          </p:cNvPr>
          <p:cNvSpPr/>
          <p:nvPr/>
        </p:nvSpPr>
        <p:spPr>
          <a:xfrm>
            <a:off x="4713681" y="1946311"/>
            <a:ext cx="3445935" cy="423052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05" tIns="60337" rIns="90505" bIns="60337" anchor="ctr"/>
          <a:lstStyle/>
          <a:p>
            <a:pPr marL="179593" indent="-179593" defTabSz="862049" fontAlgn="auto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  <a:defRPr/>
            </a:pPr>
            <a:r>
              <a:rPr lang="de-CH" altLang="fr-FR" sz="1320" b="1" dirty="0">
                <a:solidFill>
                  <a:srgbClr val="FFFFFF"/>
                </a:solidFill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86931680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93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Calibri</vt:lpstr>
      <vt:lpstr>Wingdings</vt:lpstr>
      <vt:lpstr>2_NewSidel_Template_4x3_with add layouts</vt:lpstr>
      <vt:lpstr>think-cell Folie</vt:lpstr>
      <vt:lpstr>Secure preform and final product hygie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del Services</dc:title>
  <dc:creator/>
  <cp:lastModifiedBy/>
  <cp:revision>18</cp:revision>
  <dcterms:created xsi:type="dcterms:W3CDTF">2013-03-10T13:20:43Z</dcterms:created>
  <dcterms:modified xsi:type="dcterms:W3CDTF">2020-07-31T12:1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Ref">
    <vt:lpwstr>https://api.informationprotection.azure.com/api/2390cbd1-e663-4321-bc93-ba298637ce52</vt:lpwstr>
  </property>
  <property fmtid="{D5CDD505-2E9C-101B-9397-08002B2CF9AE}" pid="5" name="MSIP_Label_94480757-a570-4f64-84e7-c5b3ffe9d573_Owner">
    <vt:lpwstr>106228@sidel.com</vt:lpwstr>
  </property>
  <property fmtid="{D5CDD505-2E9C-101B-9397-08002B2CF9AE}" pid="6" name="MSIP_Label_94480757-a570-4f64-84e7-c5b3ffe9d573_SetDate">
    <vt:lpwstr>2019-05-06T13:00:46.0404338+02:00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Application">
    <vt:lpwstr>Microsoft Azure Information Protection</vt:lpwstr>
  </property>
  <property fmtid="{D5CDD505-2E9C-101B-9397-08002B2CF9AE}" pid="9" name="MSIP_Label_94480757-a570-4f64-84e7-c5b3ffe9d573_Extended_MSFT_Method">
    <vt:lpwstr>Automatic</vt:lpwstr>
  </property>
  <property fmtid="{D5CDD505-2E9C-101B-9397-08002B2CF9AE}" pid="10" name="Sensitivity">
    <vt:lpwstr>General</vt:lpwstr>
  </property>
</Properties>
</file>